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7"/>
  </p:notesMasterIdLst>
  <p:sldIdLst>
    <p:sldId id="256" r:id="rId2"/>
    <p:sldId id="307" r:id="rId3"/>
    <p:sldId id="311" r:id="rId4"/>
    <p:sldId id="309" r:id="rId5"/>
    <p:sldId id="308" r:id="rId6"/>
  </p:sldIdLst>
  <p:sldSz cx="9144000" cy="6858000" type="screen4x3"/>
  <p:notesSz cx="6797675" cy="9926638"/>
  <p:embeddedFontLst>
    <p:embeddedFont>
      <p:font typeface="Technika-Bold" panose="00000600000000000000" charset="-18"/>
      <p:regular r:id="rId8"/>
    </p:embeddedFont>
    <p:embeddedFont>
      <p:font typeface="Technika" panose="020B0604020202020204" charset="-18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D6A1948-4FED-4658-B4CC-38371546D846}">
          <p14:sldIdLst>
            <p14:sldId id="256"/>
            <p14:sldId id="307"/>
            <p14:sldId id="311"/>
            <p14:sldId id="309"/>
            <p14:sldId id="308"/>
          </p14:sldIdLst>
        </p14:section>
        <p14:section name="Analysis" id="{52C9AC46-E335-43CB-A8BC-91DD97DD8E8E}">
          <p14:sldIdLst/>
        </p14:section>
        <p14:section name="Development" id="{75BCC440-8BB1-4477-BE93-38A0687BA19E}">
          <p14:sldIdLst/>
        </p14:section>
        <p14:section name="Testing" id="{54E20A49-CE7C-49C4-9E53-47302E683C92}">
          <p14:sldIdLst/>
        </p14:section>
        <p14:section name="Final" id="{F67AE7F7-9C4A-4AAD-8DB1-568421EDA0E5}">
          <p14:sldIdLst/>
        </p14:section>
        <p14:section name="Old" id="{64373762-BFBB-4C3D-8FEC-C8D6DA5997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>
        <p:scale>
          <a:sx n="75" d="100"/>
          <a:sy n="75" d="100"/>
        </p:scale>
        <p:origin x="930" y="54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5.10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146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7125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40612" y="274320"/>
            <a:ext cx="6705823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845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err="1" smtClean="0"/>
              <a:t>Staffr</a:t>
            </a:r>
            <a:r>
              <a:rPr lang="cs-CZ" sz="1400" baseline="0" dirty="0" smtClean="0"/>
              <a:t> status </a:t>
            </a:r>
            <a:r>
              <a:rPr lang="cs-CZ" sz="1400" baseline="0" dirty="0" err="1" smtClean="0"/>
              <a:t>presentation</a:t>
            </a:r>
            <a:r>
              <a:rPr lang="cs-CZ" sz="1400" baseline="0" dirty="0" smtClean="0"/>
              <a:t> v1, </a:t>
            </a:r>
            <a:r>
              <a:rPr lang="cs-CZ" sz="1400" baseline="0" dirty="0" err="1" smtClean="0"/>
              <a:t>October</a:t>
            </a:r>
            <a:r>
              <a:rPr lang="cs-CZ" sz="1400" baseline="0" dirty="0" smtClean="0"/>
              <a:t> 5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63" Type="http://schemas.openxmlformats.org/officeDocument/2006/relationships/tags" Target="../tags/tag68.xml"/><Relationship Id="rId68" Type="http://schemas.openxmlformats.org/officeDocument/2006/relationships/tags" Target="../tags/tag73.xml"/><Relationship Id="rId84" Type="http://schemas.openxmlformats.org/officeDocument/2006/relationships/tags" Target="../tags/tag89.xml"/><Relationship Id="rId89" Type="http://schemas.openxmlformats.org/officeDocument/2006/relationships/tags" Target="../tags/tag94.xml"/><Relationship Id="rId16" Type="http://schemas.openxmlformats.org/officeDocument/2006/relationships/tags" Target="../tags/tag21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53" Type="http://schemas.openxmlformats.org/officeDocument/2006/relationships/tags" Target="../tags/tag58.xml"/><Relationship Id="rId58" Type="http://schemas.openxmlformats.org/officeDocument/2006/relationships/tags" Target="../tags/tag63.xml"/><Relationship Id="rId74" Type="http://schemas.openxmlformats.org/officeDocument/2006/relationships/tags" Target="../tags/tag79.xml"/><Relationship Id="rId79" Type="http://schemas.openxmlformats.org/officeDocument/2006/relationships/tags" Target="../tags/tag84.xml"/><Relationship Id="rId5" Type="http://schemas.openxmlformats.org/officeDocument/2006/relationships/tags" Target="../tags/tag10.xml"/><Relationship Id="rId90" Type="http://schemas.openxmlformats.org/officeDocument/2006/relationships/tags" Target="../tags/tag95.xml"/><Relationship Id="rId95" Type="http://schemas.openxmlformats.org/officeDocument/2006/relationships/slideLayout" Target="../slideLayouts/slideLayout6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64" Type="http://schemas.openxmlformats.org/officeDocument/2006/relationships/tags" Target="../tags/tag69.xml"/><Relationship Id="rId69" Type="http://schemas.openxmlformats.org/officeDocument/2006/relationships/tags" Target="../tags/tag74.xml"/><Relationship Id="rId80" Type="http://schemas.openxmlformats.org/officeDocument/2006/relationships/tags" Target="../tags/tag85.xml"/><Relationship Id="rId85" Type="http://schemas.openxmlformats.org/officeDocument/2006/relationships/tags" Target="../tags/tag90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tags" Target="../tags/tag64.xml"/><Relationship Id="rId67" Type="http://schemas.openxmlformats.org/officeDocument/2006/relationships/tags" Target="../tags/tag72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62" Type="http://schemas.openxmlformats.org/officeDocument/2006/relationships/tags" Target="../tags/tag67.xml"/><Relationship Id="rId70" Type="http://schemas.openxmlformats.org/officeDocument/2006/relationships/tags" Target="../tags/tag75.xml"/><Relationship Id="rId75" Type="http://schemas.openxmlformats.org/officeDocument/2006/relationships/tags" Target="../tags/tag80.xml"/><Relationship Id="rId83" Type="http://schemas.openxmlformats.org/officeDocument/2006/relationships/tags" Target="../tags/tag88.xml"/><Relationship Id="rId88" Type="http://schemas.openxmlformats.org/officeDocument/2006/relationships/tags" Target="../tags/tag93.xml"/><Relationship Id="rId91" Type="http://schemas.openxmlformats.org/officeDocument/2006/relationships/tags" Target="../tags/tag96.xml"/><Relationship Id="rId96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tags" Target="../tags/tag6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tags" Target="../tags/tag65.xml"/><Relationship Id="rId65" Type="http://schemas.openxmlformats.org/officeDocument/2006/relationships/tags" Target="../tags/tag70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81" Type="http://schemas.openxmlformats.org/officeDocument/2006/relationships/tags" Target="../tags/tag86.xml"/><Relationship Id="rId86" Type="http://schemas.openxmlformats.org/officeDocument/2006/relationships/tags" Target="../tags/tag91.xml"/><Relationship Id="rId94" Type="http://schemas.openxmlformats.org/officeDocument/2006/relationships/tags" Target="../tags/tag9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97" Type="http://schemas.openxmlformats.org/officeDocument/2006/relationships/oleObject" Target="../embeddings/oleObject5.bin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Relationship Id="rId87" Type="http://schemas.openxmlformats.org/officeDocument/2006/relationships/tags" Target="../tags/tag92.xml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56" Type="http://schemas.openxmlformats.org/officeDocument/2006/relationships/tags" Target="../tags/tag61.xml"/><Relationship Id="rId77" Type="http://schemas.openxmlformats.org/officeDocument/2006/relationships/tags" Target="../tags/tag82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98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</a:t>
            </a:r>
            <a:r>
              <a:rPr lang="cs-CZ" sz="4400" dirty="0" err="1" smtClean="0"/>
              <a:t>Staffr</a:t>
            </a:r>
            <a:r>
              <a:rPr lang="en-US" sz="4400" dirty="0" smtClean="0"/>
              <a:t>:</a:t>
            </a:r>
            <a:br>
              <a:rPr lang="en-US" sz="4400" dirty="0" smtClean="0"/>
            </a:br>
            <a:r>
              <a:rPr lang="cs-CZ" sz="4400" dirty="0" smtClean="0"/>
              <a:t>Status report v1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err="1" smtClean="0"/>
              <a:t>October</a:t>
            </a:r>
            <a:r>
              <a:rPr lang="cs-CZ" dirty="0" smtClean="0"/>
              <a:t> 5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cs-CZ" sz="1100" b="0" dirty="0" smtClean="0"/>
              <a:t>Kryštof Sýkora, Marek Szeles</a:t>
            </a:r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Staffr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74040" y="4623030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Help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earch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relevan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employee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a </a:t>
            </a:r>
            <a:r>
              <a:rPr lang="cs-CZ" sz="2000" b="1" dirty="0" err="1" smtClean="0"/>
              <a:t>project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874988" y="4623030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750825" y="5068116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728619" y="5184219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874040" y="1944099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Staff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managemene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ystem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874988" y="1944099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750825" y="2389185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728619" y="2505288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874040" y="3295454"/>
            <a:ext cx="8269960" cy="697683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Allows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for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administration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of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aff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projects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offices</a:t>
            </a:r>
            <a:r>
              <a:rPr lang="cs-CZ" sz="2000" b="1" dirty="0" smtClean="0"/>
              <a:t>, </a:t>
            </a:r>
            <a:r>
              <a:rPr lang="cs-CZ" sz="2000" b="1" dirty="0" err="1" smtClean="0"/>
              <a:t>etc</a:t>
            </a:r>
            <a:r>
              <a:rPr lang="cs-CZ" sz="2000" b="1" dirty="0" smtClean="0"/>
              <a:t>.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874988" y="3295454"/>
            <a:ext cx="342236" cy="445086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750825" y="3740540"/>
            <a:ext cx="466399" cy="697684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728619" y="3856644"/>
            <a:ext cx="309620" cy="465477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2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7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Original</a:t>
            </a:r>
            <a:r>
              <a:rPr lang="cs-CZ" dirty="0" smtClean="0"/>
              <a:t> </a:t>
            </a:r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23497" y="3855428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23497" y="2782766"/>
            <a:ext cx="1235320" cy="4923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23497" y="327513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23497" y="4435720"/>
            <a:ext cx="1235320" cy="7502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23497" y="2202475"/>
            <a:ext cx="1235320" cy="5802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282461" y="2202473"/>
            <a:ext cx="282820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2929304" y="2202474"/>
            <a:ext cx="353158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3918439" y="2202474"/>
            <a:ext cx="134229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6671897" y="2202473"/>
            <a:ext cx="424962" cy="29835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58816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108" b="0">
                <a:sym typeface="+mn-lt"/>
              </a:rPr>
              <a:pPr/>
              <a:t>Jul</a:t>
            </a:fld>
            <a:endParaRPr lang="en-US" sz="1108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48100" y="1740877"/>
            <a:ext cx="2189285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108" b="0">
                <a:sym typeface="+mn-lt"/>
              </a:rPr>
              <a:pPr/>
              <a:t>Aug</a:t>
            </a:fld>
            <a:endParaRPr lang="en-US" sz="1108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37385" y="1740877"/>
            <a:ext cx="2117481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108" b="0">
                <a:sym typeface="+mn-lt"/>
              </a:rPr>
              <a:pPr/>
              <a:t>Sep</a:t>
            </a:fld>
            <a:endParaRPr lang="en-US" sz="1108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54867" y="1740877"/>
            <a:ext cx="565638" cy="24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108" b="0">
                <a:sym typeface="+mn-lt"/>
              </a:rPr>
              <a:pPr/>
              <a:t>Oct</a:t>
            </a:fld>
            <a:endParaRPr lang="en-US" sz="1108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58815" y="1985597"/>
            <a:ext cx="140677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923" b="0">
                <a:sym typeface="+mn-lt"/>
              </a:rPr>
              <a:pPr/>
              <a:t>26</a:t>
            </a:fld>
            <a:endParaRPr lang="en-US" sz="923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99493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923" b="0">
                <a:sym typeface="+mn-lt"/>
              </a:rPr>
              <a:pPr/>
              <a:t>27</a:t>
            </a:fld>
            <a:endParaRPr lang="en-US" sz="923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9479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923" b="0">
                <a:sym typeface="+mn-lt"/>
              </a:rPr>
              <a:pPr/>
              <a:t>28</a:t>
            </a:fld>
            <a:endParaRPr lang="en-US" sz="923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8862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923" b="0">
                <a:sym typeface="+mn-lt"/>
              </a:rPr>
              <a:pPr/>
              <a:t>29</a:t>
            </a:fld>
            <a:endParaRPr lang="en-US" sz="923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82462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923" b="0">
                <a:sym typeface="+mn-lt"/>
              </a:rPr>
              <a:pPr/>
              <a:t>30</a:t>
            </a:fld>
            <a:endParaRPr lang="en-US" sz="923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77762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923" b="0">
                <a:sym typeface="+mn-lt"/>
              </a:rPr>
              <a:pPr/>
              <a:t>31</a:t>
            </a:fld>
            <a:endParaRPr lang="en-US" sz="923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1597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923" b="0">
                <a:sym typeface="+mn-lt"/>
              </a:rPr>
              <a:pPr/>
              <a:t>32</a:t>
            </a:fld>
            <a:endParaRPr lang="en-US" sz="923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765431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923" b="0">
                <a:sym typeface="+mn-lt"/>
              </a:rPr>
              <a:pPr/>
              <a:t>33</a:t>
            </a:fld>
            <a:endParaRPr lang="en-US" sz="923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60731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923" b="0">
                <a:sym typeface="+mn-lt"/>
              </a:rPr>
              <a:pPr/>
              <a:t>34</a:t>
            </a:fld>
            <a:endParaRPr lang="en-US" sz="923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754566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923" b="0">
                <a:sym typeface="+mn-lt"/>
              </a:rPr>
              <a:pPr/>
              <a:t>35</a:t>
            </a:fld>
            <a:endParaRPr lang="en-US" sz="923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24840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923" b="0">
                <a:sym typeface="+mn-lt"/>
              </a:rPr>
              <a:pPr/>
              <a:t>36</a:t>
            </a:fld>
            <a:endParaRPr lang="en-US" sz="923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43700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923" b="0">
                <a:sym typeface="+mn-lt"/>
              </a:rPr>
              <a:pPr/>
              <a:t>37</a:t>
            </a:fld>
            <a:endParaRPr lang="en-US" sz="923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237535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923" b="0">
                <a:sym typeface="+mn-lt"/>
              </a:rPr>
              <a:pPr/>
              <a:t>38</a:t>
            </a:fld>
            <a:endParaRPr lang="en-US" sz="923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31370" y="1985597"/>
            <a:ext cx="495300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923" b="0">
                <a:sym typeface="+mn-lt"/>
              </a:rPr>
              <a:pPr/>
              <a:t>39</a:t>
            </a:fld>
            <a:endParaRPr lang="en-US" sz="923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26669" y="1985597"/>
            <a:ext cx="493835" cy="216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8100" rIns="0" bIns="381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923" b="0">
                <a:sym typeface="+mn-lt"/>
              </a:rPr>
              <a:pPr/>
              <a:t>40</a:t>
            </a:fld>
            <a:endParaRPr lang="en-US" sz="923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154867" y="1985597"/>
            <a:ext cx="5656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3848100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658816" y="1985597"/>
            <a:ext cx="21892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037385" y="1985597"/>
            <a:ext cx="2117481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3848100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037385" y="2202474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658815" y="2202473"/>
            <a:ext cx="0" cy="2983523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7520354" y="3464169"/>
            <a:ext cx="63451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282462" y="2971800"/>
            <a:ext cx="4237892" cy="106974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667608" y="2971800"/>
            <a:ext cx="1614854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718289" y="3464169"/>
            <a:ext cx="4802066" cy="1069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667608" y="2479431"/>
            <a:ext cx="1897674" cy="106973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4765431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5754566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2484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2824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278862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29479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2266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6743700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3777762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237535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7731369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271597" y="2202473"/>
            <a:ext cx="0" cy="2983523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23497" y="3855427"/>
            <a:ext cx="829700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154866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799492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260731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7520354" y="2202474"/>
            <a:ext cx="0" cy="29835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23497" y="2202474"/>
            <a:ext cx="8297008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055327" y="5092212"/>
            <a:ext cx="99646" cy="35315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373315" y="5665177"/>
            <a:ext cx="99646" cy="28282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324958" y="5857143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491405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006969" y="5319346"/>
            <a:ext cx="196362" cy="99646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539762" y="4598377"/>
            <a:ext cx="99646" cy="1342292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099789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087458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474677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7452946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497874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193323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650881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591408" y="4117731"/>
            <a:ext cx="134815" cy="134815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732085" y="4618892"/>
            <a:ext cx="134815" cy="117231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/>
            <a:endParaRPr lang="en-U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562100" y="4273062"/>
            <a:ext cx="193431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923" b="0"/>
              <a:pPr/>
              <a:t>1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7391400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923" b="0"/>
              <a:pPr/>
              <a:t>22.9.</a:t>
            </a:fld>
            <a:endParaRPr lang="en-US" sz="923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11420" y="1995854"/>
            <a:ext cx="507023" cy="16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108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108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791450" y="4756638"/>
            <a:ext cx="726831" cy="422031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>
                <a:sym typeface="+mn-lt"/>
              </a:rPr>
              <a:t>Start of </a:t>
            </a:r>
            <a:br>
              <a:rPr lang="en-US" altLang="en-US" sz="923" b="0" dirty="0">
                <a:sym typeface="+mn-lt"/>
              </a:rPr>
            </a:br>
            <a:r>
              <a:rPr lang="en-US" altLang="en-US" sz="923" b="0" dirty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923" b="0"/>
              <a:pPr/>
              <a:t>1.10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778370" y="5435112"/>
            <a:ext cx="655027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923" b="0"/>
              <a:pPr/>
              <a:t>19.7.</a:t>
            </a:fld>
            <a:r>
              <a:rPr lang="en-US" altLang="en-US" sz="923" b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923" b="0"/>
              <a:pPr/>
              <a:t>23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436327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923" b="0"/>
              <a:pPr/>
              <a:t>28.7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113943" y="5972908"/>
            <a:ext cx="61985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923" b="0"/>
              <a:pPr/>
              <a:t>24.7.</a:t>
            </a:fld>
            <a:r>
              <a:rPr lang="en-US" altLang="en-US" sz="923" b="0" dirty="0">
                <a:sym typeface="+mn-lt"/>
              </a:rPr>
              <a:t> </a:t>
            </a:r>
            <a:r>
              <a:rPr lang="en-US" altLang="en-US" sz="923" b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923" b="0"/>
              <a:pPr/>
              <a:t>27.7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413131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923" b="0"/>
              <a:pPr/>
              <a:t>25.8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11420" y="4119197"/>
            <a:ext cx="507023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Meetings</a:t>
            </a:r>
            <a:endParaRPr lang="en-US" sz="923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131777" y="4756638"/>
            <a:ext cx="257908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589335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923" b="0" dirty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11420" y="3450981"/>
            <a:ext cx="73415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evelopment</a:t>
            </a:r>
            <a:endParaRPr lang="en-US" sz="923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11420" y="2958612"/>
            <a:ext cx="493835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Learning</a:t>
            </a:r>
            <a:endParaRPr lang="en-US" sz="923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686659" y="4756638"/>
            <a:ext cx="227135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923" b="0"/>
              <a:pPr/>
              <a:t>3.7.</a:t>
            </a:fld>
            <a:endParaRPr lang="en-US" altLang="en-US" sz="923" b="0" dirty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11421" y="2466243"/>
            <a:ext cx="1059474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>
                <a:sym typeface="+mn-lt"/>
              </a:rPr>
              <a:t>Document creation</a:t>
            </a:r>
            <a:endParaRPr lang="en-US" sz="923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038243" y="4273062"/>
            <a:ext cx="257908" cy="140677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923" b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923" b="0" dirty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185139" y="5435112"/>
            <a:ext cx="808892" cy="281354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23" b="0" dirty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923" b="0"/>
              <a:pPr/>
              <a:t>2.8.</a:t>
            </a:fld>
            <a:r>
              <a:rPr lang="en-US" altLang="en-US" sz="923" b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923" b="0"/>
              <a:pPr/>
              <a:t>20.8.</a:t>
            </a:fld>
            <a:endParaRPr lang="en-US" sz="923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11420" y="4611566"/>
            <a:ext cx="603738" cy="1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23" dirty="0"/>
              <a:t>Milestones</a:t>
            </a:r>
            <a:endParaRPr lang="en-US" sz="923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352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565" y="1282650"/>
            <a:ext cx="2914650" cy="1133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Current</a:t>
            </a:r>
            <a:r>
              <a:rPr lang="cs-CZ" dirty="0" smtClean="0"/>
              <a:t> status</a:t>
            </a:r>
            <a:endParaRPr lang="cs-C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566" y="2198831"/>
            <a:ext cx="8001000" cy="23138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262" y="4501623"/>
            <a:ext cx="4113679" cy="17460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0941" y="4591491"/>
            <a:ext cx="3774816" cy="16562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1591" y="76413"/>
            <a:ext cx="2847975" cy="9239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33216" y="1180654"/>
            <a:ext cx="5086350" cy="133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44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3670" y="315756"/>
            <a:ext cx="7794000" cy="1087934"/>
          </a:xfrm>
        </p:spPr>
        <p:txBody>
          <a:bodyPr/>
          <a:lstStyle/>
          <a:p>
            <a:r>
              <a:rPr lang="cs-CZ" dirty="0" err="1" smtClean="0"/>
              <a:t>Domain</a:t>
            </a:r>
            <a:r>
              <a:rPr lang="cs-CZ" dirty="0" smtClean="0"/>
              <a:t> model</a:t>
            </a:r>
            <a:endParaRPr lang="cs-CZ" dirty="0"/>
          </a:p>
        </p:txBody>
      </p:sp>
      <p:pic>
        <p:nvPicPr>
          <p:cNvPr id="4" name="Picture 3" descr="C:\Users\Marek\EAR\EAR_Staffr\docs\WIP\Domain model\domainModel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7" y="1403690"/>
            <a:ext cx="6463623" cy="47700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7425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E4P_STYLE_ID" val="0fbcd015-fbac-494c-bcad-77fcf24a62f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748</TotalTime>
  <Words>105</Words>
  <Application>Microsoft Office PowerPoint</Application>
  <PresentationFormat>On-screen Show (4:3)</PresentationFormat>
  <Paragraphs>6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Technika-Bold</vt:lpstr>
      <vt:lpstr>Technika</vt:lpstr>
      <vt:lpstr>Arial</vt:lpstr>
      <vt:lpstr>Calibri</vt:lpstr>
      <vt:lpstr>PowerPoint_CS</vt:lpstr>
      <vt:lpstr>think-cell Slide</vt:lpstr>
      <vt:lpstr>Project Staffr: Status report v1</vt:lpstr>
      <vt:lpstr>What is Staffr?</vt:lpstr>
      <vt:lpstr>Original Schedule</vt:lpstr>
      <vt:lpstr>Current status</vt:lpstr>
      <vt:lpstr>Domain model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59</cp:revision>
  <cp:lastPrinted>2017-03-01T18:10:55Z</cp:lastPrinted>
  <dcterms:created xsi:type="dcterms:W3CDTF">2016-12-15T15:45:09Z</dcterms:created>
  <dcterms:modified xsi:type="dcterms:W3CDTF">2017-10-05T13:05:24Z</dcterms:modified>
</cp:coreProperties>
</file>